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147472363" r:id="rId2"/>
  </p:sldIdLst>
  <p:sldSz cx="18288000" cy="10287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347" imgH="348" progId="TCLayout.ActiveDocument.1">
                  <p:embed/>
                </p:oleObj>
              </mc:Choice>
              <mc:Fallback>
                <p:oleObj name="think-cell Slide" r:id="rId20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850D274-0D68-1121-F01F-052019E241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itle 37">
            <a:extLst>
              <a:ext uri="{FF2B5EF4-FFF2-40B4-BE49-F238E27FC236}">
                <a16:creationId xmlns:a16="http://schemas.microsoft.com/office/drawing/2014/main" id="{5E0AEA68-D030-7A1A-4C63-052C671AD2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</p:spPr>
        <p:txBody>
          <a:bodyPr/>
          <a:lstStyle/>
          <a:p>
            <a:r>
              <a:rPr lang="en-US" dirty="0"/>
              <a:t>4-Phase chevron breakdown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1F7B534B-CCDD-4166-FE3E-8CB881788C7D}"/>
              </a:ext>
            </a:extLst>
          </p:cNvPr>
          <p:cNvSpPr/>
          <p:nvPr/>
        </p:nvSpPr>
        <p:spPr>
          <a:xfrm>
            <a:off x="717454" y="2857500"/>
            <a:ext cx="4017106" cy="63023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bIns="108000" rtlCol="0" anchor="t"/>
          <a:lstStyle/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orem ipsum dolor sit amet, consectetuer adipiscing elit. Maecenas porttitor congue massa. Fusce posuere, magna sed pulvinar ultricies, purus lectus malesuada libero, sit amet commodo magna eros quis urna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unc viverra imperdiet enim. Fusce est. Vivamus a tellus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ellentesque habitant morbi tristique senectus et netus et malesuada fames ac turpis egestas. Proin pharetra nonummy pede. Mauris et orci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enean nec lorem. In porttitor. Donec laoreet nonummy augue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uspendisse dui purus, scelerisque at, vulputate vitae, pretium mattis, nunc. Mauris eget neque at sem venenatis eleifend. Ut nonummy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usce aliquet pede non pede. Suspendisse dapibus lorem pellentesque magna. Integer nulla.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2904E1D2-021F-AEC9-40F7-5C4B5230FC35}"/>
              </a:ext>
            </a:extLst>
          </p:cNvPr>
          <p:cNvSpPr/>
          <p:nvPr/>
        </p:nvSpPr>
        <p:spPr>
          <a:xfrm>
            <a:off x="4835567" y="2857500"/>
            <a:ext cx="4017106" cy="63023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bIns="108000" rtlCol="0" anchor="t"/>
          <a:lstStyle/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orem ipsum dolor sit amet, consectetuer adipiscing elit. Maecenas porttitor congue massa. Fusce posuere, magna sed pulvinar ultricies, purus lectus malesuada libero, sit amet commodo magna eros quis urna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unc viverra imperdiet enim. Fusce est. Vivamus a tellus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ellentesque habitant morbi tristique senectus et netus et malesuada fames ac turpis egestas. Proin pharetra nonummy pede. Mauris et orci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enean nec lorem. In porttitor. Donec laoreet nonummy augue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uspendisse dui purus, scelerisque at, vulputate vitae, pretium mattis, nunc. Mauris eget neque at sem venenatis eleifend. Ut nonummy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usce aliquet pede non pede. Suspendisse dapibus lorem pellentesque magna. Integer nulla.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17133BFA-04AE-31D6-53DB-3284C4252C55}"/>
              </a:ext>
            </a:extLst>
          </p:cNvPr>
          <p:cNvSpPr/>
          <p:nvPr/>
        </p:nvSpPr>
        <p:spPr>
          <a:xfrm>
            <a:off x="8953680" y="2857500"/>
            <a:ext cx="4017106" cy="63023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bIns="108000" rtlCol="0" anchor="t"/>
          <a:lstStyle/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orem ipsum dolor sit amet, consectetuer adipiscing elit. Maecenas porttitor congue massa. Fusce posuere, magna sed pulvinar ultricies, purus lectus malesuada libero, sit amet commodo magna eros quis urna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unc viverra imperdiet enim. Fusce est. Vivamus a tellus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ellentesque habitant morbi tristique senectus et netus et malesuada fames ac turpis egestas. Proin pharetra nonummy pede. Mauris et orci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enean nec lorem. In porttitor. Donec laoreet nonummy augue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uspendisse dui purus, scelerisque at, vulputate vitae, pretium mattis, nunc. Mauris eget neque at sem venenatis eleifend. Ut nonummy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usce aliquet pede non pede. Suspendisse dapibus lorem pellentesque magna. Integer nulla.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C415DA6A-7E35-C8E4-B4FD-D0BF654FBC7E}"/>
              </a:ext>
            </a:extLst>
          </p:cNvPr>
          <p:cNvSpPr/>
          <p:nvPr/>
        </p:nvSpPr>
        <p:spPr>
          <a:xfrm>
            <a:off x="13071794" y="2857500"/>
            <a:ext cx="4017106" cy="63023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bIns="108000" rtlCol="0" anchor="t"/>
          <a:lstStyle/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orem ipsum dolor sit amet, consectetuer adipiscing elit. Maecenas porttitor congue massa. Fusce posuere, magna sed pulvinar ultricies, purus lectus malesuada libero, sit amet commodo magna eros quis urna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unc viverra imperdiet enim. Fusce est. Vivamus a tellus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ellentesque habitant morbi tristique senectus et netus et malesuada fames ac turpis egestas. Proin pharetra nonummy pede. Mauris et orci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enean nec lorem. In porttitor. Donec laoreet nonummy augue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uspendisse dui purus, scelerisque at, vulputate vitae, pretium mattis, nunc. Mauris eget neque at sem venenatis eleifend. Ut nonummy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usce aliquet pede non pede. Suspendisse dapibus lorem pellentesque magna. Integer nulla.</a:t>
            </a:r>
          </a:p>
        </p:txBody>
      </p:sp>
      <p:sp>
        <p:nvSpPr>
          <p:cNvPr id="44" name="Arrow: Chevron 43">
            <a:extLst>
              <a:ext uri="{FF2B5EF4-FFF2-40B4-BE49-F238E27FC236}">
                <a16:creationId xmlns:a16="http://schemas.microsoft.com/office/drawing/2014/main" id="{ADDA419F-755D-D10F-7C7E-E879576FA253}"/>
              </a:ext>
            </a:extLst>
          </p:cNvPr>
          <p:cNvSpPr/>
          <p:nvPr/>
        </p:nvSpPr>
        <p:spPr>
          <a:xfrm>
            <a:off x="701676" y="1889656"/>
            <a:ext cx="4489133" cy="88582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Heading</a:t>
            </a:r>
            <a:endParaRPr lang="en-US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47" name="Arrow: Chevron 46">
            <a:extLst>
              <a:ext uri="{FF2B5EF4-FFF2-40B4-BE49-F238E27FC236}">
                <a16:creationId xmlns:a16="http://schemas.microsoft.com/office/drawing/2014/main" id="{A7FA5634-7593-EEF6-B3AE-978092A52895}"/>
              </a:ext>
            </a:extLst>
          </p:cNvPr>
          <p:cNvSpPr/>
          <p:nvPr/>
        </p:nvSpPr>
        <p:spPr>
          <a:xfrm>
            <a:off x="4825049" y="1889656"/>
            <a:ext cx="4489133" cy="885824"/>
          </a:xfrm>
          <a:prstGeom prst="chevron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Heading</a:t>
            </a:r>
            <a:endParaRPr lang="en-US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50" name="Arrow: Chevron 49">
            <a:extLst>
              <a:ext uri="{FF2B5EF4-FFF2-40B4-BE49-F238E27FC236}">
                <a16:creationId xmlns:a16="http://schemas.microsoft.com/office/drawing/2014/main" id="{C72AE954-EA69-6212-F5F9-1F1589A377E3}"/>
              </a:ext>
            </a:extLst>
          </p:cNvPr>
          <p:cNvSpPr/>
          <p:nvPr/>
        </p:nvSpPr>
        <p:spPr>
          <a:xfrm>
            <a:off x="8948421" y="1889656"/>
            <a:ext cx="4489133" cy="88582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Heading</a:t>
            </a:r>
            <a:endParaRPr lang="en-US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53" name="Arrow: Chevron 52">
            <a:extLst>
              <a:ext uri="{FF2B5EF4-FFF2-40B4-BE49-F238E27FC236}">
                <a16:creationId xmlns:a16="http://schemas.microsoft.com/office/drawing/2014/main" id="{9A3B7251-258C-F382-9DBD-9808F641E3D0}"/>
              </a:ext>
            </a:extLst>
          </p:cNvPr>
          <p:cNvSpPr/>
          <p:nvPr/>
        </p:nvSpPr>
        <p:spPr>
          <a:xfrm>
            <a:off x="13071794" y="1889656"/>
            <a:ext cx="4489133" cy="885824"/>
          </a:xfrm>
          <a:prstGeom prst="chevron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Heading</a:t>
            </a:r>
            <a:endParaRPr lang="en-US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A9C26DC-E9D3-5545-A47C-E5663AF125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46816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14</TotalTime>
  <Words>504</Words>
  <Application>Microsoft Office PowerPoint</Application>
  <PresentationFormat>Custom</PresentationFormat>
  <Paragraphs>3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ptos</vt:lpstr>
      <vt:lpstr>Symbol</vt:lpstr>
      <vt:lpstr>Arial</vt:lpstr>
      <vt:lpstr>Custom Design</vt:lpstr>
      <vt:lpstr>think-cell Slide</vt:lpstr>
      <vt:lpstr>4-Phase chevron breakdow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324</cp:revision>
  <dcterms:created xsi:type="dcterms:W3CDTF">2006-08-16T00:00:00Z</dcterms:created>
  <dcterms:modified xsi:type="dcterms:W3CDTF">2025-10-06T09:18:17Z</dcterms:modified>
  <cp:category/>
  <dc:identifier>DAGkDf5R9EM</dc:identifier>
</cp:coreProperties>
</file>